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3"/>
    <p:sldId id="265" r:id="rId4"/>
    <p:sldId id="258" r:id="rId5"/>
    <p:sldId id="270" r:id="rId6"/>
    <p:sldId id="257" r:id="rId7"/>
    <p:sldId id="266" r:id="rId8"/>
    <p:sldId id="259" r:id="rId9"/>
    <p:sldId id="268" r:id="rId10"/>
    <p:sldId id="267" r:id="rId11"/>
    <p:sldId id="260" r:id="rId12"/>
    <p:sldId id="269" r:id="rId1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CB05"/>
    <a:srgbClr val="474747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308" autoAdjust="0"/>
  </p:normalViewPr>
  <p:slideViewPr>
    <p:cSldViewPr snapToGrid="0">
      <p:cViewPr varScale="1">
        <p:scale>
          <a:sx n="87" d="100"/>
          <a:sy n="87" d="100"/>
        </p:scale>
        <p:origin x="40" y="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/>
          <a:srcRect l="30646" t="58016" r="2638" b="1566"/>
          <a:stretch>
            <a:fillRect/>
          </a:stretch>
        </p:blipFill>
        <p:spPr>
          <a:xfrm>
            <a:off x="0" y="0"/>
            <a:ext cx="5448300" cy="228550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r="17622" b="21353"/>
          <a:stretch>
            <a:fillRect/>
          </a:stretch>
        </p:blipFill>
        <p:spPr>
          <a:xfrm>
            <a:off x="4533900" y="1795406"/>
            <a:ext cx="7658100" cy="5062594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2A3CE7-D921-4F28-8DDB-D0F98F7959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6AC6D7-3A49-4657-B789-1D7C881DFE6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12.xml"/><Relationship Id="rId3" Type="http://schemas.openxmlformats.org/officeDocument/2006/relationships/image" Target="../media/image33.png"/><Relationship Id="rId2" Type="http://schemas.openxmlformats.org/officeDocument/2006/relationships/image" Target="../media/image32.emf"/><Relationship Id="rId1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png"/><Relationship Id="rId1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5" Type="http://schemas.openxmlformats.org/officeDocument/2006/relationships/slideLayout" Target="../slideLayouts/slideLayout2.xml"/><Relationship Id="rId14" Type="http://schemas.openxmlformats.org/officeDocument/2006/relationships/image" Target="../media/image6.png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22.xml"/><Relationship Id="rId8" Type="http://schemas.openxmlformats.org/officeDocument/2006/relationships/tags" Target="../tags/tag21.xml"/><Relationship Id="rId7" Type="http://schemas.openxmlformats.org/officeDocument/2006/relationships/tags" Target="../tags/tag20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2" Type="http://schemas.openxmlformats.org/officeDocument/2006/relationships/slideLayout" Target="../slideLayouts/slideLayout2.xml"/><Relationship Id="rId11" Type="http://schemas.openxmlformats.org/officeDocument/2006/relationships/image" Target="../media/image6.png"/><Relationship Id="rId10" Type="http://schemas.openxmlformats.org/officeDocument/2006/relationships/tags" Target="../tags/tag23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6.png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.png"/><Relationship Id="rId8" Type="http://schemas.openxmlformats.org/officeDocument/2006/relationships/image" Target="../media/image17.png"/><Relationship Id="rId7" Type="http://schemas.openxmlformats.org/officeDocument/2006/relationships/image" Target="../media/image16.png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3" Type="http://schemas.openxmlformats.org/officeDocument/2006/relationships/image" Target="../media/image12.png"/><Relationship Id="rId20" Type="http://schemas.openxmlformats.org/officeDocument/2006/relationships/vmlDrawing" Target="../drawings/vmlDrawing1.vml"/><Relationship Id="rId2" Type="http://schemas.openxmlformats.org/officeDocument/2006/relationships/image" Target="../media/image11.png"/><Relationship Id="rId19" Type="http://schemas.openxmlformats.org/officeDocument/2006/relationships/slideLayout" Target="../slideLayouts/slideLayout2.xml"/><Relationship Id="rId18" Type="http://schemas.openxmlformats.org/officeDocument/2006/relationships/image" Target="../media/image6.png"/><Relationship Id="rId17" Type="http://schemas.openxmlformats.org/officeDocument/2006/relationships/image" Target="../media/image24.png"/><Relationship Id="rId16" Type="http://schemas.openxmlformats.org/officeDocument/2006/relationships/image" Target="../media/image23.png"/><Relationship Id="rId15" Type="http://schemas.openxmlformats.org/officeDocument/2006/relationships/image" Target="../media/image22.emf"/><Relationship Id="rId14" Type="http://schemas.openxmlformats.org/officeDocument/2006/relationships/oleObject" Target="../embeddings/oleObject2.bin"/><Relationship Id="rId13" Type="http://schemas.openxmlformats.org/officeDocument/2006/relationships/image" Target="../media/image21.emf"/><Relationship Id="rId12" Type="http://schemas.openxmlformats.org/officeDocument/2006/relationships/oleObject" Target="../embeddings/oleObject1.bin"/><Relationship Id="rId11" Type="http://schemas.openxmlformats.org/officeDocument/2006/relationships/image" Target="../media/image20.png"/><Relationship Id="rId10" Type="http://schemas.openxmlformats.org/officeDocument/2006/relationships/image" Target="../media/image19.png"/><Relationship Id="rId1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6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6.png"/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png"/><Relationship Id="rId1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 flipV="1">
            <a:off x="828261" y="4539118"/>
            <a:ext cx="9272465" cy="1656715"/>
          </a:xfrm>
          <a:prstGeom prst="rect">
            <a:avLst/>
          </a:prstGeom>
          <a:solidFill>
            <a:srgbClr val="FDD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941493" y="4623490"/>
            <a:ext cx="5338196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chemeClr val="tx1"/>
                </a:solidFill>
                <a:latin typeface="思源黑体 CN Heavy" panose="020B0A00000000000000" charset="-122"/>
                <a:ea typeface="思源黑体 CN Heavy" panose="020B0A00000000000000" charset="-122"/>
              </a:rPr>
              <a:t>工业识别</a:t>
            </a:r>
            <a:r>
              <a:rPr lang="zh-CN" altLang="en-US" sz="3200" b="1" dirty="0">
                <a:solidFill>
                  <a:schemeClr val="tx1"/>
                </a:solidFill>
                <a:latin typeface="思源黑体 CN Heavy" panose="020B0A00000000000000" charset="-122"/>
                <a:ea typeface="思源黑体 CN Heavy" panose="020B0A00000000000000" charset="-122"/>
              </a:rPr>
              <a:t>定位系统</a:t>
            </a:r>
            <a:r>
              <a:rPr lang="en-US" altLang="zh-CN" sz="3200" b="1" dirty="0">
                <a:solidFill>
                  <a:schemeClr val="tx1"/>
                </a:solidFill>
                <a:latin typeface="思源黑体 CN Heavy" panose="020B0A00000000000000" charset="-122"/>
                <a:ea typeface="思源黑体 CN Heavy" panose="020B0A00000000000000" charset="-122"/>
              </a:rPr>
              <a:t>-RFID</a:t>
            </a:r>
            <a:endParaRPr lang="zh-CN" altLang="en-US" sz="3200" b="1" dirty="0">
              <a:solidFill>
                <a:schemeClr val="tx1"/>
              </a:solidFill>
              <a:latin typeface="思源黑体 CN Heavy" panose="020B0A00000000000000" charset="-122"/>
              <a:ea typeface="思源黑体 CN Heavy" panose="020B0A00000000000000" charset="-122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346689" y="5376326"/>
            <a:ext cx="6290380" cy="581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>
                <a:latin typeface="思源黑体 CN Heavy" panose="020B0A00000000000000" charset="-122"/>
                <a:ea typeface="思源黑体 CN Heavy" panose="020B0A00000000000000" charset="-122"/>
                <a:cs typeface="思源黑体 CN Heavy" panose="020B0A00000000000000" charset="-122"/>
                <a:sym typeface="+mn-ea"/>
              </a:rPr>
              <a:t>工业总线“现场级”分布式</a:t>
            </a:r>
            <a:r>
              <a:rPr lang="en-US" altLang="zh-CN" sz="2400" dirty="0">
                <a:latin typeface="思源黑体 CN Heavy" panose="020B0A00000000000000" charset="-122"/>
                <a:ea typeface="思源黑体 CN Heavy" panose="020B0A00000000000000" charset="-122"/>
                <a:cs typeface="思源黑体 CN Heavy" panose="020B0A00000000000000" charset="-122"/>
                <a:sym typeface="+mn-ea"/>
              </a:rPr>
              <a:t>IO</a:t>
            </a:r>
            <a:r>
              <a:rPr lang="zh-CN" altLang="en-US" sz="2400" dirty="0">
                <a:latin typeface="思源黑体 CN Heavy" panose="020B0A00000000000000" charset="-122"/>
                <a:ea typeface="思源黑体 CN Heavy" panose="020B0A00000000000000" charset="-122"/>
                <a:cs typeface="思源黑体 CN Heavy" panose="020B0A00000000000000" charset="-122"/>
                <a:sym typeface="+mn-ea"/>
              </a:rPr>
              <a:t>系列定位方案</a:t>
            </a:r>
            <a:endParaRPr lang="zh-CN" altLang="en-US" sz="2400" b="1" dirty="0">
              <a:solidFill>
                <a:schemeClr val="tx1"/>
              </a:solidFill>
              <a:latin typeface="思源黑体 CN Heavy" panose="020B0A00000000000000" charset="-122"/>
              <a:ea typeface="思源黑体 CN Heavy" panose="020B0A00000000000000" charset="-122"/>
              <a:cs typeface="思源黑体 CN Heavy" panose="020B0A00000000000000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" y="876142"/>
            <a:ext cx="1040983" cy="99135"/>
          </a:xfrm>
          <a:prstGeom prst="rect">
            <a:avLst/>
          </a:prstGeom>
          <a:solidFill>
            <a:srgbClr val="474747"/>
          </a:solidFill>
          <a:ln>
            <a:solidFill>
              <a:srgbClr val="47474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040985" y="876142"/>
            <a:ext cx="2593240" cy="99135"/>
          </a:xfrm>
          <a:prstGeom prst="rect">
            <a:avLst/>
          </a:prstGeom>
          <a:solidFill>
            <a:srgbClr val="FECB05"/>
          </a:solidFill>
          <a:ln>
            <a:solidFill>
              <a:srgbClr val="FECB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634224" y="876142"/>
            <a:ext cx="8557776" cy="99135"/>
          </a:xfrm>
          <a:prstGeom prst="rect">
            <a:avLst/>
          </a:prstGeom>
          <a:solidFill>
            <a:srgbClr val="474747"/>
          </a:solidFill>
          <a:ln>
            <a:solidFill>
              <a:srgbClr val="47474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20323" y="6324390"/>
            <a:ext cx="5410200" cy="466725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0" y="6278671"/>
            <a:ext cx="12192000" cy="45719"/>
          </a:xfrm>
          <a:prstGeom prst="rect">
            <a:avLst/>
          </a:prstGeom>
          <a:solidFill>
            <a:srgbClr val="FECB05"/>
          </a:solidFill>
          <a:ln>
            <a:solidFill>
              <a:srgbClr val="FECB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813" y="-411290"/>
            <a:ext cx="3364696" cy="1948061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0056675" y="400340"/>
            <a:ext cx="2442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工业融合  互联未来</a:t>
            </a:r>
            <a:endParaRPr lang="zh-CN" altLang="en-US" sz="1400" dirty="0"/>
          </a:p>
        </p:txBody>
      </p:sp>
      <p:pic>
        <p:nvPicPr>
          <p:cNvPr id="2" name="图片 1" descr="连接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9575" y="1019810"/>
            <a:ext cx="6510655" cy="339026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199296" y="74491"/>
            <a:ext cx="20486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项目清单：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07035" y="0"/>
            <a:ext cx="720090" cy="548640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767080" y="760466"/>
          <a:ext cx="10719550" cy="551558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773389"/>
                <a:gridCol w="1334148"/>
                <a:gridCol w="1912295"/>
                <a:gridCol w="870467"/>
                <a:gridCol w="1809420"/>
                <a:gridCol w="930329"/>
                <a:gridCol w="881676"/>
                <a:gridCol w="2207826"/>
              </a:tblGrid>
              <a:tr h="344955">
                <a:tc>
                  <a:txBody>
                    <a:bodyPr/>
                    <a:lstStyle/>
                    <a:p>
                      <a:r>
                        <a:rPr lang="zh-CN" altLang="en-US" dirty="0"/>
                        <a:t>序号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名称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型号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单位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数量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单价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总价</a:t>
                      </a:r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02448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1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PLC</a:t>
                      </a:r>
                      <a:r>
                        <a:rPr lang="zh-CN" altLang="en-US" sz="1100" dirty="0"/>
                        <a:t>控制柜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313685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2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协议主站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560552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3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连接线束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02448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4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dirty="0"/>
                        <a:t>连接线束</a:t>
                      </a:r>
                      <a:endParaRPr lang="zh-CN" altLang="en-US" sz="1100" dirty="0"/>
                    </a:p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02448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5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dirty="0"/>
                        <a:t>连接线束</a:t>
                      </a:r>
                      <a:endParaRPr lang="zh-CN" altLang="en-US" sz="1100" dirty="0"/>
                    </a:p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313685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6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RFID</a:t>
                      </a:r>
                      <a:r>
                        <a:rPr lang="zh-CN" altLang="en-US" sz="1100" dirty="0"/>
                        <a:t>读取器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560552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7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dirty="0"/>
                        <a:t>载码体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02448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8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dirty="0"/>
                        <a:t>双端</a:t>
                      </a:r>
                      <a:r>
                        <a:rPr lang="en-US" altLang="zh-CN" sz="1100" dirty="0"/>
                        <a:t>RJ45</a:t>
                      </a:r>
                      <a:r>
                        <a:rPr lang="zh-CN" altLang="en-US" sz="1100" dirty="0"/>
                        <a:t>连接器</a:t>
                      </a:r>
                      <a:endParaRPr lang="zh-CN" altLang="en-US" sz="1100" dirty="0"/>
                    </a:p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02448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9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ASI</a:t>
                      </a:r>
                      <a:r>
                        <a:rPr lang="zh-CN" altLang="en-US" sz="1100" dirty="0"/>
                        <a:t>主站</a:t>
                      </a:r>
                      <a:endParaRPr lang="zh-CN" altLang="en-US" sz="1100" dirty="0"/>
                    </a:p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313685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10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扁平线缆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313685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11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ASI</a:t>
                      </a:r>
                      <a:r>
                        <a:rPr lang="zh-CN" altLang="en-US" sz="1100" dirty="0"/>
                        <a:t>刺穿式分线器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313685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12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控制板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244819"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13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三色灯</a:t>
                      </a:r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图片 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108" y="-635"/>
            <a:ext cx="12183745" cy="685863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6278671"/>
            <a:ext cx="12192000" cy="45719"/>
          </a:xfrm>
          <a:prstGeom prst="rect">
            <a:avLst/>
          </a:prstGeom>
          <a:solidFill>
            <a:srgbClr val="FECB05"/>
          </a:solidFill>
          <a:ln>
            <a:solidFill>
              <a:srgbClr val="FECB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76952" y="393704"/>
            <a:ext cx="60564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tx1"/>
                </a:solidFill>
              </a:rPr>
              <a:t>项⽬背景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/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30" y="1556792"/>
            <a:ext cx="4078552" cy="2599188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4584065" y="1772920"/>
            <a:ext cx="760793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全球制造业正加速向智能工厂转型，通过物联网（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IoT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大数据与自动化技术实现生产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物流全链条数字化。作为物联网核心感知技术，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FID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非接触式批量识别，可解决传统条码 在效率、准确率与安全性上的瓶颈。全球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FID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场规模预计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025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年突破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20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亿 美元，年复合增长率达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2.3%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其中制造业应用占比超</a:t>
            </a:r>
            <a:r>
              <a:rPr lang="en-US" alt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0%</a:t>
            </a:r>
            <a:r>
              <a:rPr lang="zh-CN" altLang="en-US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。 </a:t>
            </a:r>
            <a:endParaRPr lang="zh-CN" altLang="en-US" sz="2400" b="1" dirty="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 b="1" dirty="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本方案聚焦</a:t>
            </a:r>
            <a:r>
              <a:rPr lang="en-US" altLang="zh-CN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FID</a:t>
            </a:r>
            <a:r>
              <a:rPr lang="zh-CN" altLang="en-US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识别技术与</a:t>
            </a:r>
            <a:r>
              <a:rPr lang="en-US" altLang="zh-CN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SI</a:t>
            </a:r>
            <a:r>
              <a:rPr lang="zh-CN" altLang="en-US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总线灯光指引系统相结合，构建智能化仓库管理解决方案：通过周转箱体搭载</a:t>
            </a:r>
            <a:r>
              <a:rPr lang="en-US" altLang="zh-CN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FID</a:t>
            </a:r>
            <a:r>
              <a:rPr lang="zh-CN" altLang="en-US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标签实现货物身份自动识别，配合</a:t>
            </a:r>
            <a:r>
              <a:rPr lang="en-US" altLang="zh-CN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SI</a:t>
            </a:r>
            <a:r>
              <a:rPr lang="zh-CN" altLang="en-US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总线控制的灯光指引网络，实现货物位置实时追踪与库位精准绑定，显著提升仓储作业效率和空间利用率。</a:t>
            </a:r>
            <a:r>
              <a:rPr lang="en-US" altLang="zh-CN" sz="2400" b="1" dirty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" </a:t>
            </a:r>
            <a:r>
              <a:rPr lang="zh-CN" sz="2400" b="1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！</a:t>
            </a:r>
            <a:endParaRPr lang="zh-CN" sz="2400" b="1" dirty="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0" y="914400"/>
            <a:ext cx="1772093" cy="6632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/>
          <p:cNvSpPr/>
          <p:nvPr/>
        </p:nvSpPr>
        <p:spPr>
          <a:xfrm>
            <a:off x="1205608" y="913963"/>
            <a:ext cx="2223596" cy="66328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3359696" y="913963"/>
            <a:ext cx="8832304" cy="6632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FFFF00"/>
              </a:highlight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205608" y="446074"/>
            <a:ext cx="60564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tx1"/>
                </a:solidFill>
              </a:rPr>
              <a:t>企业现状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914400"/>
            <a:ext cx="1772093" cy="6632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1205608" y="913963"/>
            <a:ext cx="2223596" cy="66328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3359696" y="913963"/>
            <a:ext cx="8832304" cy="6632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FFFF00"/>
              </a:highlight>
            </a:endParaRPr>
          </a:p>
        </p:txBody>
      </p:sp>
      <p:grpSp>
        <p:nvGrpSpPr>
          <p:cNvPr id="32" name="组合 11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15941" y="1504896"/>
            <a:ext cx="9800417" cy="4438704"/>
            <a:chOff x="1375582" y="1567949"/>
            <a:chExt cx="9800417" cy="4438704"/>
          </a:xfrm>
        </p:grpSpPr>
        <p:grpSp>
          <p:nvGrpSpPr>
            <p:cNvPr id="33" name="组合 1"/>
            <p:cNvGrpSpPr/>
            <p:nvPr/>
          </p:nvGrpSpPr>
          <p:grpSpPr>
            <a:xfrm>
              <a:off x="1375582" y="1567949"/>
              <a:ext cx="9800417" cy="823239"/>
              <a:chOff x="1375582" y="1294875"/>
              <a:chExt cx="9800417" cy="823239"/>
            </a:xfrm>
          </p:grpSpPr>
          <p:sp>
            <p:nvSpPr>
              <p:cNvPr id="49" name="Body-1"/>
              <p:cNvSpPr txBox="1"/>
              <p:nvPr>
                <p:custDataLst>
                  <p:tags r:id="rId2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当前仓库采用人工记录布车位置，缺乏数字化管理手段，导致布车与库位信息脱节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仓管人员放置货物后，未及时更新库位状态，其他人员无法快速定位货物位置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50" name="Title-1"/>
              <p:cNvSpPr txBox="1"/>
              <p:nvPr>
                <p:custDataLst>
                  <p:tags r:id="rId3"/>
                </p:custDataLst>
              </p:nvPr>
            </p:nvSpPr>
            <p:spPr>
              <a:xfrm flipH="1">
                <a:off x="2386136" y="1321022"/>
                <a:ext cx="3250793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1" dirty="0">
                    <a:latin typeface="+mn-ea"/>
                    <a:cs typeface="Arial" panose="020B0604020202020204" pitchFamily="34" charset="0"/>
                  </a:rPr>
                  <a:t>库位与布车未绑定</a:t>
                </a:r>
                <a:endParaRPr lang="zh-CN" altLang="en-US" b="1" dirty="0">
                  <a:latin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Index-1"/>
              <p:cNvSpPr txBox="1"/>
              <p:nvPr>
                <p:custDataLst>
                  <p:tags r:id="rId4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1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1"/>
              <p:cNvSpPr/>
              <p:nvPr/>
            </p:nvSpPr>
            <p:spPr>
              <a:xfrm>
                <a:off x="4930796" y="1456580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4" name="组合 2"/>
            <p:cNvGrpSpPr/>
            <p:nvPr/>
          </p:nvGrpSpPr>
          <p:grpSpPr>
            <a:xfrm>
              <a:off x="1375582" y="2706134"/>
              <a:ext cx="9800417" cy="823239"/>
              <a:chOff x="1375582" y="1294875"/>
              <a:chExt cx="9800417" cy="823239"/>
            </a:xfrm>
          </p:grpSpPr>
          <p:sp>
            <p:nvSpPr>
              <p:cNvPr id="45" name="Body-2"/>
              <p:cNvSpPr txBox="1"/>
              <p:nvPr>
                <p:custDataLst>
                  <p:tags r:id="rId5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仓库面积较大且布局开放，货物随意堆放，未形成标准化分区管理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缺乏可视化标识，找货时需人工逐区排查，效率极低。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46" name="Title-2"/>
              <p:cNvSpPr txBox="1"/>
              <p:nvPr>
                <p:custDataLst>
                  <p:tags r:id="rId6"/>
                </p:custDataLst>
              </p:nvPr>
            </p:nvSpPr>
            <p:spPr>
              <a:xfrm flipH="1">
                <a:off x="2386137" y="1321022"/>
                <a:ext cx="2889242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1" dirty="0">
                    <a:ea typeface="+mj-ea"/>
                    <a:cs typeface="Arial" panose="020B0604020202020204" pitchFamily="34" charset="0"/>
                  </a:rPr>
                  <a:t>仓库空间利用率低</a:t>
                </a:r>
                <a:endParaRPr lang="zh-CN" altLang="en-US" b="1" dirty="0"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47" name="Index-2"/>
              <p:cNvSpPr txBox="1"/>
              <p:nvPr>
                <p:custDataLst>
                  <p:tags r:id="rId7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2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48" name="2"/>
              <p:cNvSpPr/>
              <p:nvPr/>
            </p:nvSpPr>
            <p:spPr>
              <a:xfrm>
                <a:off x="4930796" y="1501349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5" name="组合 3"/>
            <p:cNvGrpSpPr/>
            <p:nvPr/>
          </p:nvGrpSpPr>
          <p:grpSpPr>
            <a:xfrm>
              <a:off x="1375582" y="3932415"/>
              <a:ext cx="9800417" cy="823239"/>
              <a:chOff x="1375582" y="1294875"/>
              <a:chExt cx="9800417" cy="823239"/>
            </a:xfrm>
          </p:grpSpPr>
          <p:sp>
            <p:nvSpPr>
              <p:cNvPr id="41" name="Body-3"/>
              <p:cNvSpPr txBox="1"/>
              <p:nvPr>
                <p:custDataLst>
                  <p:tags r:id="rId8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找货过程耗时严重，平均每次找货需花费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15-30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分钟（根据行业案例估算）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频繁的无效搬运和重复检查导致人力浪费，运营成本增加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42" name="Title-3"/>
              <p:cNvSpPr txBox="1"/>
              <p:nvPr>
                <p:custDataLst>
                  <p:tags r:id="rId9"/>
                </p:custDataLst>
              </p:nvPr>
            </p:nvSpPr>
            <p:spPr>
              <a:xfrm flipH="1">
                <a:off x="2386137" y="1321022"/>
                <a:ext cx="1779974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1" dirty="0">
                    <a:latin typeface="+mj-ea"/>
                    <a:ea typeface="+mj-ea"/>
                    <a:cs typeface="Arial" panose="020B0604020202020204" pitchFamily="34" charset="0"/>
                  </a:rPr>
                  <a:t>时间成本高</a:t>
                </a:r>
                <a:endParaRPr lang="zh-CN" altLang="en-US" b="1" dirty="0"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Index-3"/>
              <p:cNvSpPr txBox="1"/>
              <p:nvPr>
                <p:custDataLst>
                  <p:tags r:id="rId10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3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3"/>
              <p:cNvSpPr/>
              <p:nvPr/>
            </p:nvSpPr>
            <p:spPr>
              <a:xfrm>
                <a:off x="4930796" y="1465189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6" name="组合 4"/>
            <p:cNvGrpSpPr/>
            <p:nvPr/>
          </p:nvGrpSpPr>
          <p:grpSpPr>
            <a:xfrm>
              <a:off x="1375582" y="5183414"/>
              <a:ext cx="9800417" cy="823239"/>
              <a:chOff x="1375582" y="1294875"/>
              <a:chExt cx="9800417" cy="823239"/>
            </a:xfrm>
          </p:grpSpPr>
          <p:sp>
            <p:nvSpPr>
              <p:cNvPr id="37" name="Body-4"/>
              <p:cNvSpPr txBox="1"/>
              <p:nvPr>
                <p:custDataLst>
                  <p:tags r:id="rId11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依赖人员经验，新员工培训周期长，易因操作失误引发库存混乱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无法实时监控库存动态，影响生产计划和订单响应速度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itle-4"/>
              <p:cNvSpPr txBox="1"/>
              <p:nvPr>
                <p:custDataLst>
                  <p:tags r:id="rId12"/>
                </p:custDataLst>
              </p:nvPr>
            </p:nvSpPr>
            <p:spPr>
              <a:xfrm flipH="1">
                <a:off x="2386137" y="1321022"/>
                <a:ext cx="1779974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1" dirty="0">
                    <a:latin typeface="+mj-ea"/>
                    <a:ea typeface="+mj-ea"/>
                    <a:cs typeface="Arial" panose="020B0604020202020204" pitchFamily="34" charset="0"/>
                  </a:rPr>
                  <a:t>管理风险</a:t>
                </a:r>
                <a:endParaRPr lang="zh-CN" altLang="en-US" b="1" dirty="0"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39" name="Index-4"/>
              <p:cNvSpPr txBox="1"/>
              <p:nvPr>
                <p:custDataLst>
                  <p:tags r:id="rId13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4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4"/>
              <p:cNvSpPr/>
              <p:nvPr/>
            </p:nvSpPr>
            <p:spPr>
              <a:xfrm>
                <a:off x="4868761" y="1482828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pic>
        <p:nvPicPr>
          <p:cNvPr id="53" name="图片 5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95791" y="395776"/>
            <a:ext cx="60564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项目目标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14400"/>
            <a:ext cx="1772093" cy="6632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1205608" y="913963"/>
            <a:ext cx="2223596" cy="66328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3359696" y="913963"/>
            <a:ext cx="8832304" cy="6632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FFFF00"/>
              </a:highlight>
            </a:endParaRPr>
          </a:p>
        </p:txBody>
      </p:sp>
      <p:grpSp>
        <p:nvGrpSpPr>
          <p:cNvPr id="8" name="组合 11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95791" y="1436005"/>
            <a:ext cx="9800417" cy="3985991"/>
            <a:chOff x="1375582" y="1567949"/>
            <a:chExt cx="9800417" cy="3985991"/>
          </a:xfrm>
        </p:grpSpPr>
        <p:grpSp>
          <p:nvGrpSpPr>
            <p:cNvPr id="9" name="组合 1"/>
            <p:cNvGrpSpPr/>
            <p:nvPr/>
          </p:nvGrpSpPr>
          <p:grpSpPr>
            <a:xfrm>
              <a:off x="1375582" y="1567949"/>
              <a:ext cx="9800417" cy="823239"/>
              <a:chOff x="1375582" y="1294875"/>
              <a:chExt cx="9800417" cy="823239"/>
            </a:xfrm>
          </p:grpSpPr>
          <p:sp>
            <p:nvSpPr>
              <p:cNvPr id="20" name="Body-1"/>
              <p:cNvSpPr txBox="1"/>
              <p:nvPr>
                <p:custDataLst>
                  <p:tags r:id="rId2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实时追踪‌：布车入库时自动触发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RFID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读写，库位状态实时更新至系统，消除人工记录误差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精准定位‌：通过工控机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/PDA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输入货物编号，灯光直接显示对应库位，找货时间缩短至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1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分钟内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itle-1"/>
              <p:cNvSpPr txBox="1"/>
              <p:nvPr>
                <p:custDataLst>
                  <p:tags r:id="rId3"/>
                </p:custDataLst>
              </p:nvPr>
            </p:nvSpPr>
            <p:spPr>
              <a:xfrm flipH="1">
                <a:off x="2386137" y="1321022"/>
                <a:ext cx="2563236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b="1" dirty="0">
                    <a:latin typeface="+mj-ea"/>
                    <a:ea typeface="+mj-ea"/>
                    <a:cs typeface="Arial" panose="020B0604020202020204" pitchFamily="34" charset="0"/>
                  </a:rPr>
                  <a:t>RFID</a:t>
                </a:r>
                <a:r>
                  <a:rPr lang="zh-CN" altLang="en-US" b="1" dirty="0">
                    <a:latin typeface="+mj-ea"/>
                    <a:ea typeface="+mj-ea"/>
                    <a:cs typeface="Arial" panose="020B0604020202020204" pitchFamily="34" charset="0"/>
                  </a:rPr>
                  <a:t>库位绑定系统</a:t>
                </a:r>
                <a:endParaRPr lang="zh-CN" altLang="en-US" b="1" dirty="0"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22" name="Index-1"/>
              <p:cNvSpPr txBox="1"/>
              <p:nvPr>
                <p:custDataLst>
                  <p:tags r:id="rId4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1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1"/>
              <p:cNvSpPr/>
              <p:nvPr/>
            </p:nvSpPr>
            <p:spPr>
              <a:xfrm>
                <a:off x="4718655" y="1494404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" name="组合 2"/>
            <p:cNvGrpSpPr/>
            <p:nvPr/>
          </p:nvGrpSpPr>
          <p:grpSpPr>
            <a:xfrm>
              <a:off x="1375582" y="3079627"/>
              <a:ext cx="9800417" cy="823239"/>
              <a:chOff x="1375582" y="1294875"/>
              <a:chExt cx="9800417" cy="823239"/>
            </a:xfrm>
          </p:grpSpPr>
          <p:sp>
            <p:nvSpPr>
              <p:cNvPr id="16" name="Body-2"/>
              <p:cNvSpPr txBox="1"/>
              <p:nvPr>
                <p:custDataLst>
                  <p:tags r:id="rId5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可视化提示‌：布车入库时库位灯亮绿色，确认货物在位；找货时灯光闪烁，提供直观指引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多场景适配‌：支持异常报警，和批量盘点操作（多库位联动提示）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7" name="Title-2"/>
              <p:cNvSpPr txBox="1"/>
              <p:nvPr>
                <p:custDataLst>
                  <p:tags r:id="rId6"/>
                </p:custDataLst>
              </p:nvPr>
            </p:nvSpPr>
            <p:spPr>
              <a:xfrm flipH="1">
                <a:off x="2386136" y="1321022"/>
                <a:ext cx="2226665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b="1" dirty="0">
                    <a:latin typeface="+mj-ea"/>
                    <a:ea typeface="+mj-ea"/>
                    <a:cs typeface="Arial" panose="020B0604020202020204" pitchFamily="34" charset="0"/>
                  </a:rPr>
                  <a:t>ASI</a:t>
                </a:r>
                <a:r>
                  <a:rPr lang="zh-CN" altLang="en-US" b="1" dirty="0">
                    <a:latin typeface="+mj-ea"/>
                    <a:ea typeface="+mj-ea"/>
                    <a:cs typeface="Arial" panose="020B0604020202020204" pitchFamily="34" charset="0"/>
                  </a:rPr>
                  <a:t>智能三色灯引导</a:t>
                </a:r>
                <a:endParaRPr lang="zh-CN" altLang="en-US" b="1" dirty="0"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Index-2"/>
              <p:cNvSpPr txBox="1"/>
              <p:nvPr>
                <p:custDataLst>
                  <p:tags r:id="rId7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2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2"/>
              <p:cNvSpPr/>
              <p:nvPr/>
            </p:nvSpPr>
            <p:spPr>
              <a:xfrm>
                <a:off x="4718655" y="1486565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" name="组合 3"/>
            <p:cNvGrpSpPr/>
            <p:nvPr/>
          </p:nvGrpSpPr>
          <p:grpSpPr>
            <a:xfrm>
              <a:off x="1375582" y="4730701"/>
              <a:ext cx="9800417" cy="823239"/>
              <a:chOff x="1375582" y="1294875"/>
              <a:chExt cx="9800417" cy="823239"/>
            </a:xfrm>
          </p:grpSpPr>
          <p:sp>
            <p:nvSpPr>
              <p:cNvPr id="12" name="Body-3"/>
              <p:cNvSpPr txBox="1"/>
              <p:nvPr>
                <p:custDataLst>
                  <p:tags r:id="rId8"/>
                </p:custDataLst>
              </p:nvPr>
            </p:nvSpPr>
            <p:spPr>
              <a:xfrm flipH="1">
                <a:off x="2386135" y="1593680"/>
                <a:ext cx="8789864" cy="52443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效率提升‌：找货效率提升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80%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以上，仓库周转率显著提高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成本优化‌：减少人工巡检需求，长期可降低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30%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仓储管理成本（参考行业实施案例）。</a:t>
                </a:r>
                <a:endParaRPr kumimoji="1" lang="zh-CN" altLang="en-US" sz="1400" dirty="0">
                  <a:latin typeface="+mn-ea"/>
                  <a:sym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扩展性‌：系统支持与</a:t>
                </a:r>
                <a:r>
                  <a:rPr kumimoji="1" lang="en-US" altLang="zh-CN" sz="1400" dirty="0">
                    <a:latin typeface="+mn-ea"/>
                    <a:sym typeface="Arial" panose="020B0604020202020204" pitchFamily="34" charset="0"/>
                  </a:rPr>
                  <a:t>ERP/WMS</a:t>
                </a:r>
                <a:r>
                  <a:rPr kumimoji="1" lang="zh-CN" altLang="en-US" sz="1400" dirty="0">
                    <a:latin typeface="+mn-ea"/>
                    <a:sym typeface="Arial" panose="020B0604020202020204" pitchFamily="34" charset="0"/>
                  </a:rPr>
                  <a:t>对接，为未来智能化升级预留接口。</a:t>
                </a:r>
                <a:endParaRPr kumimoji="1" lang="en-US" altLang="zh-CN" sz="1400" dirty="0">
                  <a:latin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3" name="Title-3"/>
              <p:cNvSpPr txBox="1"/>
              <p:nvPr>
                <p:custDataLst>
                  <p:tags r:id="rId9"/>
                </p:custDataLst>
              </p:nvPr>
            </p:nvSpPr>
            <p:spPr>
              <a:xfrm flipH="1">
                <a:off x="2386137" y="1321022"/>
                <a:ext cx="1779974" cy="369332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1" dirty="0">
                    <a:latin typeface="+mj-ea"/>
                    <a:ea typeface="+mj-ea"/>
                    <a:cs typeface="Arial" panose="020B0604020202020204" pitchFamily="34" charset="0"/>
                  </a:rPr>
                  <a:t>整体效益</a:t>
                </a:r>
                <a:endParaRPr lang="zh-CN" altLang="en-US" b="1" dirty="0"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14" name="Index-3"/>
              <p:cNvSpPr txBox="1"/>
              <p:nvPr>
                <p:custDataLst>
                  <p:tags r:id="rId10"/>
                </p:custDataLst>
              </p:nvPr>
            </p:nvSpPr>
            <p:spPr>
              <a:xfrm flipH="1">
                <a:off x="1375582" y="1294875"/>
                <a:ext cx="1779974" cy="74275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000" b="1" dirty="0">
                    <a:solidFill>
                      <a:schemeClr val="accent2">
                        <a:lumMod val="50000"/>
                      </a:schemeClr>
                    </a:solidFill>
                    <a:latin typeface="+mj-ea"/>
                    <a:ea typeface="+mj-ea"/>
                    <a:cs typeface="Arial" panose="020B0604020202020204" pitchFamily="34" charset="0"/>
                  </a:rPr>
                  <a:t>03</a:t>
                </a:r>
                <a:endParaRPr lang="zh-CN" altLang="en-US" sz="4000" b="1" dirty="0">
                  <a:solidFill>
                    <a:schemeClr val="accent2">
                      <a:lumMod val="50000"/>
                    </a:schemeClr>
                  </a:solidFill>
                  <a:latin typeface="+mj-ea"/>
                  <a:ea typeface="+mj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3"/>
              <p:cNvSpPr/>
              <p:nvPr/>
            </p:nvSpPr>
            <p:spPr>
              <a:xfrm>
                <a:off x="4718655" y="1482828"/>
                <a:ext cx="2563236" cy="45719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pic>
        <p:nvPicPr>
          <p:cNvPr id="24" name="图片 2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6278671"/>
            <a:ext cx="12192000" cy="45719"/>
          </a:xfrm>
          <a:prstGeom prst="rect">
            <a:avLst/>
          </a:prstGeom>
          <a:solidFill>
            <a:srgbClr val="FECB05"/>
          </a:solidFill>
          <a:ln>
            <a:solidFill>
              <a:srgbClr val="FECB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49454" y="911031"/>
            <a:ext cx="5059419" cy="469327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942" y="1803789"/>
            <a:ext cx="2257004" cy="182569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4030" y="1401314"/>
            <a:ext cx="1228785" cy="2519357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195791" y="395776"/>
            <a:ext cx="60564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产品特点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0" y="914400"/>
            <a:ext cx="1772093" cy="6632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1205608" y="913963"/>
            <a:ext cx="2223596" cy="66328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3359696" y="913963"/>
            <a:ext cx="8832304" cy="6632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FFFF00"/>
              </a:highlight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770203" y="1559709"/>
            <a:ext cx="5178985" cy="3095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9720" indent="-285750">
              <a:lnSpc>
                <a:spcPct val="150000"/>
              </a:lnSpc>
              <a:buClr>
                <a:srgbClr val="FFC000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CN" dirty="0">
                <a:solidFill>
                  <a:schemeClr val="bg2">
                    <a:lumMod val="50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RFID</a:t>
            </a:r>
            <a:r>
              <a:rPr lang="zh-CN" altLang="en-US" dirty="0">
                <a:solidFill>
                  <a:schemeClr val="bg2">
                    <a:lumMod val="50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读写器</a:t>
            </a:r>
            <a:endParaRPr lang="en-US" altLang="zh-CN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思源黑体 CN Medium" panose="020B0600000000000000" pitchFamily="34" charset="-122"/>
              <a:cs typeface="Arial" panose="020B0604020202020204" pitchFamily="34" charset="0"/>
            </a:endParaRPr>
          </a:p>
          <a:p>
            <a:pPr marL="756920" lvl="1" indent="-285750">
              <a:lnSpc>
                <a:spcPct val="150000"/>
              </a:lnSpc>
              <a:buClr>
                <a:srgbClr val="FFC000"/>
              </a:buClr>
              <a:buSzPct val="70000"/>
              <a:buFont typeface="Wingdings" panose="05000000000000000000" pitchFamily="2" charset="2"/>
              <a:buChar char="u"/>
            </a:pPr>
            <a:r>
              <a:rPr lang="zh-CN" altLang="en-US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高稳定高防护，漏读率</a:t>
            </a:r>
            <a:r>
              <a:rPr lang="en-US" altLang="zh-CN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0</a:t>
            </a:r>
            <a:r>
              <a:rPr lang="zh-CN" altLang="en-US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％，识读率</a:t>
            </a:r>
            <a:r>
              <a:rPr lang="en-US" altLang="zh-CN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100</a:t>
            </a:r>
            <a:r>
              <a:rPr lang="zh-CN" altLang="en-US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％</a:t>
            </a:r>
            <a:endParaRPr lang="en-US" altLang="zh-CN" sz="16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marL="756920" lvl="1" indent="-285750">
              <a:lnSpc>
                <a:spcPct val="150000"/>
              </a:lnSpc>
              <a:buClr>
                <a:srgbClr val="FFC000"/>
              </a:buClr>
              <a:buSzPct val="70000"/>
              <a:buFont typeface="Wingdings" panose="05000000000000000000" pitchFamily="2" charset="2"/>
              <a:buChar char="u"/>
            </a:pPr>
            <a:r>
              <a:rPr lang="zh-CN" altLang="en-US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该系列产品标配</a:t>
            </a:r>
            <a:r>
              <a:rPr lang="en-US" altLang="zh-CN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RS485</a:t>
            </a:r>
            <a:r>
              <a:rPr lang="zh-CN" altLang="en-US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通信接口</a:t>
            </a:r>
            <a:r>
              <a:rPr lang="zh-CN" altLang="en-US" sz="1600" dirty="0"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，</a:t>
            </a:r>
            <a:r>
              <a:rPr lang="en-US" altLang="zh-CN" sz="1600" dirty="0"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Modbus-RTU</a:t>
            </a:r>
            <a:r>
              <a:rPr lang="zh-CN" altLang="en-US" sz="1600" dirty="0"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通信，可独立组网通信</a:t>
            </a:r>
            <a:endParaRPr lang="en-US" altLang="zh-CN" sz="1600" dirty="0"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  <a:p>
            <a:pPr marL="299720" indent="-285750">
              <a:lnSpc>
                <a:spcPct val="150000"/>
              </a:lnSpc>
              <a:buClr>
                <a:srgbClr val="FFC000"/>
              </a:buClr>
              <a:buSzPct val="70000"/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bg2">
                    <a:lumMod val="50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</a:rPr>
              <a:t>与工业网关系列产品连接</a:t>
            </a:r>
            <a:endParaRPr lang="en-US" altLang="zh-CN" dirty="0">
              <a:solidFill>
                <a:schemeClr val="bg2">
                  <a:lumMod val="50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</a:endParaRPr>
          </a:p>
          <a:p>
            <a:pPr marL="756920" lvl="1" indent="-285750">
              <a:lnSpc>
                <a:spcPct val="150000"/>
              </a:lnSpc>
              <a:buClr>
                <a:srgbClr val="FFC000"/>
              </a:buClr>
              <a:buSzPct val="70000"/>
              <a:buFont typeface="Wingdings" panose="05000000000000000000" pitchFamily="2" charset="2"/>
              <a:buChar char="u"/>
            </a:pPr>
            <a:r>
              <a:rPr lang="zh-CN" altLang="en-US" sz="16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为满足不同的现场总线网络需求，读写器可通过“工业网关”与不同的协议主站进行组网通信</a:t>
            </a:r>
            <a:endParaRPr lang="en-US" altLang="zh-CN" sz="16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矩形 73"/>
          <p:cNvSpPr/>
          <p:nvPr/>
        </p:nvSpPr>
        <p:spPr>
          <a:xfrm>
            <a:off x="9533610" y="979789"/>
            <a:ext cx="1326904" cy="256076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1199295" y="74491"/>
            <a:ext cx="605641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系统连接方案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:RFID+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寻物灯光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 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07035" y="0"/>
            <a:ext cx="720090" cy="548640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373063" y="974303"/>
            <a:ext cx="1163117" cy="521435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/>
          <p:cNvSpPr/>
          <p:nvPr/>
        </p:nvSpPr>
        <p:spPr>
          <a:xfrm>
            <a:off x="374993" y="967260"/>
            <a:ext cx="1163117" cy="29156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主控制系统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pic>
        <p:nvPicPr>
          <p:cNvPr id="40" name="图片 39" descr="图片包含 室内, 桌子, 游戏机, 电脑&#10;&#10;AI 生成的内容可能不正确。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21965" y="2827374"/>
            <a:ext cx="912410" cy="1203251"/>
          </a:xfrm>
          <a:prstGeom prst="rect">
            <a:avLst/>
          </a:prstGeom>
        </p:spPr>
      </p:pic>
      <p:sp>
        <p:nvSpPr>
          <p:cNvPr id="41" name="矩形 40"/>
          <p:cNvSpPr/>
          <p:nvPr/>
        </p:nvSpPr>
        <p:spPr>
          <a:xfrm>
            <a:off x="2131840" y="979791"/>
            <a:ext cx="1326904" cy="256076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2" name="矩形 41"/>
          <p:cNvSpPr/>
          <p:nvPr/>
        </p:nvSpPr>
        <p:spPr>
          <a:xfrm>
            <a:off x="2119140" y="979790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连接设备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pic>
        <p:nvPicPr>
          <p:cNvPr id="45" name="图片 44" descr="图片包含 游戏机, 电缆, 器具&#10;&#10;AI 生成的内容可能不正确。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811" y="2039904"/>
            <a:ext cx="924962" cy="884746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2277312" y="1414772"/>
            <a:ext cx="11286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M12(D-Code)</a:t>
            </a:r>
            <a:br>
              <a:rPr lang="en-US" altLang="zh-CN" sz="1000" dirty="0"/>
            </a:br>
            <a:r>
              <a:rPr lang="en-US" altLang="zh-CN" sz="1000" dirty="0"/>
              <a:t>CNE-3xDS-4RA-01-030</a:t>
            </a:r>
            <a:endParaRPr lang="zh-CN" altLang="en-US" sz="1000" dirty="0"/>
          </a:p>
        </p:txBody>
      </p:sp>
      <p:sp>
        <p:nvSpPr>
          <p:cNvPr id="47" name="文本框 46"/>
          <p:cNvSpPr txBox="1"/>
          <p:nvPr/>
        </p:nvSpPr>
        <p:spPr>
          <a:xfrm>
            <a:off x="536182" y="1380906"/>
            <a:ext cx="1128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PLC</a:t>
            </a:r>
            <a:r>
              <a:rPr lang="zh-CN" altLang="en-US" sz="1000" dirty="0"/>
              <a:t>控制柜</a:t>
            </a:r>
            <a:endParaRPr lang="zh-CN" altLang="en-US" sz="1000" dirty="0"/>
          </a:p>
        </p:txBody>
      </p:sp>
      <p:sp>
        <p:nvSpPr>
          <p:cNvPr id="48" name="矩形 47"/>
          <p:cNvSpPr/>
          <p:nvPr/>
        </p:nvSpPr>
        <p:spPr>
          <a:xfrm>
            <a:off x="3610754" y="979791"/>
            <a:ext cx="1326904" cy="256076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9" name="矩形 48"/>
          <p:cNvSpPr/>
          <p:nvPr/>
        </p:nvSpPr>
        <p:spPr>
          <a:xfrm>
            <a:off x="3613251" y="978012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协议主站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pic>
        <p:nvPicPr>
          <p:cNvPr id="51" name="图片 50" descr="音响设备&#10;&#10;AI 生成的内容可能不正确。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874" y="1944872"/>
            <a:ext cx="482614" cy="1422909"/>
          </a:xfrm>
          <a:prstGeom prst="rect">
            <a:avLst/>
          </a:prstGeom>
        </p:spPr>
      </p:pic>
      <p:sp>
        <p:nvSpPr>
          <p:cNvPr id="52" name="文本框 51"/>
          <p:cNvSpPr txBox="1"/>
          <p:nvPr/>
        </p:nvSpPr>
        <p:spPr>
          <a:xfrm>
            <a:off x="3734562" y="1372196"/>
            <a:ext cx="1128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/>
              <a:t>▪协议主站</a:t>
            </a:r>
            <a:r>
              <a:rPr lang="en-US" altLang="zh-CN" sz="1000" dirty="0"/>
              <a:t>(4</a:t>
            </a:r>
            <a:r>
              <a:rPr lang="zh-CN" altLang="en-US" sz="1000" dirty="0"/>
              <a:t>路扩展接口</a:t>
            </a:r>
            <a:r>
              <a:rPr lang="en-US" altLang="zh-CN" sz="1000" dirty="0"/>
              <a:t>)</a:t>
            </a:r>
            <a:endParaRPr lang="zh-CN" altLang="en-US" sz="1000" dirty="0"/>
          </a:p>
        </p:txBody>
      </p:sp>
      <p:sp>
        <p:nvSpPr>
          <p:cNvPr id="55" name="矩形 54"/>
          <p:cNvSpPr/>
          <p:nvPr/>
        </p:nvSpPr>
        <p:spPr>
          <a:xfrm>
            <a:off x="5087148" y="992020"/>
            <a:ext cx="1326904" cy="2548537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6" name="矩形 55"/>
          <p:cNvSpPr/>
          <p:nvPr/>
        </p:nvSpPr>
        <p:spPr>
          <a:xfrm>
            <a:off x="5083381" y="979789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连接设备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pic>
        <p:nvPicPr>
          <p:cNvPr id="58" name="图片 57" descr="图片包含 物体, 灯光, 电缆, 桌子&#10;&#10;AI 生成的内容可能不正确。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3888" y="1968770"/>
            <a:ext cx="787426" cy="623316"/>
          </a:xfrm>
          <a:prstGeom prst="rect">
            <a:avLst/>
          </a:prstGeom>
        </p:spPr>
      </p:pic>
      <p:sp>
        <p:nvSpPr>
          <p:cNvPr id="59" name="文本框 58"/>
          <p:cNvSpPr txBox="1"/>
          <p:nvPr/>
        </p:nvSpPr>
        <p:spPr>
          <a:xfrm>
            <a:off x="5222024" y="1404434"/>
            <a:ext cx="1128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/>
              <a:t>▪分支器</a:t>
            </a:r>
            <a:r>
              <a:rPr lang="en-US" altLang="zh-CN" sz="1000" dirty="0"/>
              <a:t>M12 A-CODE</a:t>
            </a:r>
            <a:endParaRPr lang="zh-CN" altLang="en-US" sz="1000" dirty="0"/>
          </a:p>
        </p:txBody>
      </p:sp>
      <p:pic>
        <p:nvPicPr>
          <p:cNvPr id="61" name="图片 60" descr="徽标, 公司名称&#10;&#10;AI 生成的内容可能不正确。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4562" y="1981081"/>
            <a:ext cx="486911" cy="1386700"/>
          </a:xfrm>
          <a:prstGeom prst="rect">
            <a:avLst/>
          </a:prstGeom>
        </p:spPr>
      </p:pic>
      <p:sp>
        <p:nvSpPr>
          <p:cNvPr id="62" name="矩形 61"/>
          <p:cNvSpPr/>
          <p:nvPr/>
        </p:nvSpPr>
        <p:spPr>
          <a:xfrm>
            <a:off x="6531844" y="979790"/>
            <a:ext cx="1326904" cy="2560767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3" name="矩形 62"/>
          <p:cNvSpPr/>
          <p:nvPr/>
        </p:nvSpPr>
        <p:spPr>
          <a:xfrm>
            <a:off x="6531844" y="974303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连接设备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6646443" y="1390809"/>
            <a:ext cx="11286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▪M12(B-Code)</a:t>
            </a:r>
            <a:r>
              <a:rPr lang="zh-CN" altLang="en-US" sz="1000" dirty="0"/>
              <a:t>双端线缆 </a:t>
            </a:r>
            <a:r>
              <a:rPr lang="en-US" altLang="zh-CN" sz="1000" dirty="0"/>
              <a:t>EXB-1205-SN-S-V-020</a:t>
            </a:r>
            <a:endParaRPr lang="zh-CN" altLang="en-US" sz="1000" dirty="0"/>
          </a:p>
        </p:txBody>
      </p:sp>
      <p:pic>
        <p:nvPicPr>
          <p:cNvPr id="66" name="图片 65" descr="图片包含 游戏机&#10;&#10;AI 生成的内容可能不正确。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6974" y="2039904"/>
            <a:ext cx="1076644" cy="994024"/>
          </a:xfrm>
          <a:prstGeom prst="rect">
            <a:avLst/>
          </a:prstGeom>
        </p:spPr>
      </p:pic>
      <p:sp>
        <p:nvSpPr>
          <p:cNvPr id="67" name="矩形 66"/>
          <p:cNvSpPr/>
          <p:nvPr/>
        </p:nvSpPr>
        <p:spPr>
          <a:xfrm>
            <a:off x="8026578" y="992021"/>
            <a:ext cx="1326904" cy="254853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8" name="矩形 67"/>
          <p:cNvSpPr/>
          <p:nvPr/>
        </p:nvSpPr>
        <p:spPr>
          <a:xfrm>
            <a:off x="8024059" y="981618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b="1" dirty="0">
                <a:solidFill>
                  <a:schemeClr val="tx1"/>
                </a:solidFill>
              </a:rPr>
              <a:t>RFID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69" name="文本框 68"/>
          <p:cNvSpPr txBox="1"/>
          <p:nvPr/>
        </p:nvSpPr>
        <p:spPr>
          <a:xfrm>
            <a:off x="8123199" y="1385454"/>
            <a:ext cx="1128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▪</a:t>
            </a:r>
            <a:r>
              <a:rPr lang="zh-CN" altLang="en-US" sz="1000" dirty="0"/>
              <a:t>方形</a:t>
            </a:r>
            <a:r>
              <a:rPr lang="en-US" altLang="zh-CN" sz="1000" dirty="0"/>
              <a:t>RFID</a:t>
            </a:r>
            <a:br>
              <a:rPr lang="en-US" altLang="zh-CN" sz="1000" dirty="0"/>
            </a:br>
            <a:r>
              <a:rPr lang="en-US" altLang="zh-CN" sz="1000" dirty="0"/>
              <a:t>EX-RFR-150</a:t>
            </a:r>
            <a:endParaRPr lang="zh-CN" altLang="en-US" sz="1000" dirty="0"/>
          </a:p>
        </p:txBody>
      </p:sp>
      <p:pic>
        <p:nvPicPr>
          <p:cNvPr id="71" name="图片 7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317" y="2141945"/>
            <a:ext cx="918388" cy="1028765"/>
          </a:xfrm>
          <a:prstGeom prst="rect">
            <a:avLst/>
          </a:prstGeom>
        </p:spPr>
      </p:pic>
      <p:pic>
        <p:nvPicPr>
          <p:cNvPr id="73" name="图片 72" descr="墙上挂着一幅画&#10;&#10;AI 生成的内容可能不正确。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9831359" y="2381279"/>
            <a:ext cx="793529" cy="511769"/>
          </a:xfrm>
          <a:prstGeom prst="rect">
            <a:avLst/>
          </a:prstGeom>
        </p:spPr>
      </p:pic>
      <p:sp>
        <p:nvSpPr>
          <p:cNvPr id="75" name="矩形 74"/>
          <p:cNvSpPr/>
          <p:nvPr/>
        </p:nvSpPr>
        <p:spPr>
          <a:xfrm>
            <a:off x="9533610" y="977909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载码体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9663811" y="1414772"/>
            <a:ext cx="11286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▪</a:t>
            </a:r>
            <a:r>
              <a:rPr lang="zh-CN" altLang="en-US" sz="1000" dirty="0"/>
              <a:t>容量：</a:t>
            </a:r>
            <a:r>
              <a:rPr lang="en-US" altLang="zh-CN" sz="1000" dirty="0"/>
              <a:t>128Byte</a:t>
            </a:r>
            <a:endParaRPr lang="en-US" altLang="zh-CN" sz="1000" dirty="0"/>
          </a:p>
          <a:p>
            <a:r>
              <a:rPr lang="en-US" altLang="zh-CN" sz="1000" dirty="0"/>
              <a:t> </a:t>
            </a:r>
            <a:r>
              <a:rPr lang="zh-CN" altLang="en-US" sz="1000" dirty="0"/>
              <a:t>尺寸：</a:t>
            </a:r>
            <a:r>
              <a:rPr lang="en-US" altLang="zh-CN" sz="1000" dirty="0"/>
              <a:t>85.5×54×0.84mm</a:t>
            </a:r>
            <a:endParaRPr lang="zh-CN" altLang="en-US" sz="1000" dirty="0"/>
          </a:p>
        </p:txBody>
      </p:sp>
      <p:sp>
        <p:nvSpPr>
          <p:cNvPr id="77" name="矩形 76"/>
          <p:cNvSpPr/>
          <p:nvPr/>
        </p:nvSpPr>
        <p:spPr>
          <a:xfrm>
            <a:off x="9511664" y="3708359"/>
            <a:ext cx="1326904" cy="256076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8" name="矩形 77"/>
          <p:cNvSpPr/>
          <p:nvPr/>
        </p:nvSpPr>
        <p:spPr>
          <a:xfrm>
            <a:off x="2109894" y="3708361"/>
            <a:ext cx="1326904" cy="256076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9" name="矩形 78"/>
          <p:cNvSpPr/>
          <p:nvPr/>
        </p:nvSpPr>
        <p:spPr>
          <a:xfrm>
            <a:off x="2097194" y="3708360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连接设备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81" name="文本框 80"/>
          <p:cNvSpPr txBox="1"/>
          <p:nvPr/>
        </p:nvSpPr>
        <p:spPr>
          <a:xfrm>
            <a:off x="2255366" y="4143342"/>
            <a:ext cx="1128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/>
              <a:t>双端</a:t>
            </a:r>
            <a:r>
              <a:rPr lang="en-US" altLang="zh-CN" sz="1000" dirty="0"/>
              <a:t>RJ45</a:t>
            </a:r>
            <a:r>
              <a:rPr lang="zh-CN" altLang="en-US" sz="1000" dirty="0"/>
              <a:t>连接器</a:t>
            </a:r>
            <a:endParaRPr lang="zh-CN" altLang="en-US" sz="1000" dirty="0"/>
          </a:p>
        </p:txBody>
      </p:sp>
      <p:sp>
        <p:nvSpPr>
          <p:cNvPr id="82" name="矩形 81"/>
          <p:cNvSpPr/>
          <p:nvPr/>
        </p:nvSpPr>
        <p:spPr>
          <a:xfrm>
            <a:off x="3588808" y="3708361"/>
            <a:ext cx="1326904" cy="256076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3" name="矩形 82"/>
          <p:cNvSpPr/>
          <p:nvPr/>
        </p:nvSpPr>
        <p:spPr>
          <a:xfrm>
            <a:off x="3591305" y="3706582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b="1" dirty="0">
                <a:solidFill>
                  <a:schemeClr val="tx1"/>
                </a:solidFill>
              </a:rPr>
              <a:t>ASI</a:t>
            </a:r>
            <a:r>
              <a:rPr lang="zh-CN" altLang="en-US" sz="1100" b="1" dirty="0">
                <a:solidFill>
                  <a:schemeClr val="tx1"/>
                </a:solidFill>
              </a:rPr>
              <a:t>主站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3712616" y="4100766"/>
            <a:ext cx="1128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/>
              <a:t>▪</a:t>
            </a:r>
            <a:r>
              <a:rPr lang="en-US" altLang="zh-CN" sz="1000" dirty="0"/>
              <a:t>ASI</a:t>
            </a:r>
            <a:r>
              <a:rPr lang="zh-CN" altLang="en-US" sz="1000" dirty="0"/>
              <a:t>主站 </a:t>
            </a:r>
            <a:r>
              <a:rPr lang="en-US" altLang="zh-CN" sz="1000" dirty="0"/>
              <a:t>– </a:t>
            </a:r>
            <a:r>
              <a:rPr lang="en-US" altLang="zh-CN" sz="1000" dirty="0" err="1"/>
              <a:t>EtherCAT</a:t>
            </a:r>
            <a:r>
              <a:rPr lang="zh-CN" altLang="en-US" sz="1000" dirty="0"/>
              <a:t>协议</a:t>
            </a:r>
            <a:endParaRPr lang="zh-CN" altLang="en-US" sz="1000" dirty="0"/>
          </a:p>
        </p:txBody>
      </p:sp>
      <p:sp>
        <p:nvSpPr>
          <p:cNvPr id="86" name="矩形 85"/>
          <p:cNvSpPr/>
          <p:nvPr/>
        </p:nvSpPr>
        <p:spPr>
          <a:xfrm>
            <a:off x="5065202" y="3720590"/>
            <a:ext cx="1326904" cy="2548537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7" name="矩形 86"/>
          <p:cNvSpPr/>
          <p:nvPr/>
        </p:nvSpPr>
        <p:spPr>
          <a:xfrm>
            <a:off x="5061435" y="3708359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连接设备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5382958" y="4133004"/>
            <a:ext cx="1128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/>
              <a:t>▪扁平线缆</a:t>
            </a:r>
            <a:endParaRPr lang="zh-CN" altLang="en-US" sz="1000" dirty="0"/>
          </a:p>
        </p:txBody>
      </p:sp>
      <p:sp>
        <p:nvSpPr>
          <p:cNvPr id="91" name="矩形 90"/>
          <p:cNvSpPr/>
          <p:nvPr/>
        </p:nvSpPr>
        <p:spPr>
          <a:xfrm>
            <a:off x="6509898" y="3708360"/>
            <a:ext cx="1326904" cy="2560767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2" name="矩形 91"/>
          <p:cNvSpPr/>
          <p:nvPr/>
        </p:nvSpPr>
        <p:spPr>
          <a:xfrm>
            <a:off x="6509898" y="3702873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连接设备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6624497" y="4119379"/>
            <a:ext cx="1128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▪ASI</a:t>
            </a:r>
            <a:r>
              <a:rPr lang="zh-CN" altLang="en-US" sz="1000" dirty="0"/>
              <a:t>刺穿式分线器</a:t>
            </a:r>
            <a:endParaRPr lang="zh-CN" altLang="en-US" sz="1000" dirty="0"/>
          </a:p>
        </p:txBody>
      </p:sp>
      <p:sp>
        <p:nvSpPr>
          <p:cNvPr id="95" name="矩形 94"/>
          <p:cNvSpPr/>
          <p:nvPr/>
        </p:nvSpPr>
        <p:spPr>
          <a:xfrm>
            <a:off x="8004632" y="3720591"/>
            <a:ext cx="1326904" cy="254853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6" name="矩形 95"/>
          <p:cNvSpPr/>
          <p:nvPr/>
        </p:nvSpPr>
        <p:spPr>
          <a:xfrm>
            <a:off x="8002113" y="3710188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控制板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8101253" y="4114024"/>
            <a:ext cx="1128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▪IP20</a:t>
            </a:r>
            <a:r>
              <a:rPr lang="zh-CN" altLang="en-US" sz="1000" dirty="0"/>
              <a:t>接线端子</a:t>
            </a:r>
            <a:r>
              <a:rPr lang="en-US" altLang="zh-CN" sz="1000" dirty="0"/>
              <a:t>(4DI+4DO)</a:t>
            </a:r>
            <a:endParaRPr lang="zh-CN" altLang="en-US" sz="1000" dirty="0"/>
          </a:p>
        </p:txBody>
      </p:sp>
      <p:sp>
        <p:nvSpPr>
          <p:cNvPr id="100" name="矩形 99"/>
          <p:cNvSpPr/>
          <p:nvPr/>
        </p:nvSpPr>
        <p:spPr>
          <a:xfrm>
            <a:off x="9511664" y="3706479"/>
            <a:ext cx="1326904" cy="3353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tx1"/>
                </a:solidFill>
              </a:rPr>
              <a:t>三色灯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pic>
        <p:nvPicPr>
          <p:cNvPr id="103" name="图片 102" descr="形状, 正方形&#10;&#10;AI 生成的内容可能不正确。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19895" y="4765099"/>
            <a:ext cx="718982" cy="995895"/>
          </a:xfrm>
          <a:prstGeom prst="rect">
            <a:avLst/>
          </a:prstGeom>
        </p:spPr>
      </p:pic>
      <p:pic>
        <p:nvPicPr>
          <p:cNvPr id="108" name="图片 107" descr="卡通人物&#10;&#10;AI 生成的内容可能不正确。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09157" y="4679397"/>
            <a:ext cx="540763" cy="572572"/>
          </a:xfrm>
          <a:prstGeom prst="rect">
            <a:avLst/>
          </a:prstGeom>
        </p:spPr>
      </p:pic>
      <p:pic>
        <p:nvPicPr>
          <p:cNvPr id="110" name="图片 109" descr="桌子上放满了不同类型的电子产品&#10;&#10;AI 生成的内容可能不正确。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584" y="5272725"/>
            <a:ext cx="565336" cy="596743"/>
          </a:xfrm>
          <a:prstGeom prst="rect">
            <a:avLst/>
          </a:prstGeom>
        </p:spPr>
      </p:pic>
      <p:graphicFrame>
        <p:nvGraphicFramePr>
          <p:cNvPr id="115" name="对象 114"/>
          <p:cNvGraphicFramePr>
            <a:graphicFrameLocks noChangeAspect="1"/>
          </p:cNvGraphicFramePr>
          <p:nvPr/>
        </p:nvGraphicFramePr>
        <p:xfrm>
          <a:off x="8228317" y="4913427"/>
          <a:ext cx="874954" cy="3380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CorelDRAW" r:id="rId12" imgW="3618230" imgH="1403985" progId="CorelDraw.Graphic.24">
                  <p:embed/>
                </p:oleObj>
              </mc:Choice>
              <mc:Fallback>
                <p:oleObj name="CorelDRAW" r:id="rId12" imgW="3618230" imgH="1403985" progId="CorelDraw.Graphic.24">
                  <p:embed/>
                  <p:pic>
                    <p:nvPicPr>
                      <p:cNvPr id="0" name="图片 2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8228317" y="4913427"/>
                        <a:ext cx="874954" cy="3380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6" name="对象 115"/>
          <p:cNvGraphicFramePr>
            <a:graphicFrameLocks noChangeAspect="1"/>
          </p:cNvGraphicFramePr>
          <p:nvPr/>
        </p:nvGraphicFramePr>
        <p:xfrm>
          <a:off x="9747804" y="4868576"/>
          <a:ext cx="854623" cy="7385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" name="CorelDRAW" r:id="rId14" imgW="2436495" imgH="2105660" progId="CorelDraw.Graphic.24">
                  <p:embed/>
                </p:oleObj>
              </mc:Choice>
              <mc:Fallback>
                <p:oleObj name="CorelDRAW" r:id="rId14" imgW="2436495" imgH="2105660" progId="CorelDraw.Graphic.24">
                  <p:embed/>
                  <p:pic>
                    <p:nvPicPr>
                      <p:cNvPr id="0" name="图片 3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9747804" y="4868576"/>
                        <a:ext cx="854623" cy="7385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8" name="图片 117" descr="图片包含 电缆, 器具, 球拍, 女人&#10;&#10;AI 生成的内容可能不正确。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323474" y="4988743"/>
            <a:ext cx="975333" cy="725083"/>
          </a:xfrm>
          <a:prstGeom prst="rect">
            <a:avLst/>
          </a:prstGeom>
        </p:spPr>
      </p:pic>
      <p:pic>
        <p:nvPicPr>
          <p:cNvPr id="120" name="图片 119" descr="电子仪器&#10;&#10;AI 生成的内容可能不正确。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711703" y="4981883"/>
            <a:ext cx="932430" cy="692827"/>
          </a:xfrm>
          <a:prstGeom prst="rect">
            <a:avLst/>
          </a:prstGeom>
        </p:spPr>
      </p:pic>
      <p:sp>
        <p:nvSpPr>
          <p:cNvPr id="121" name="文本框 120"/>
          <p:cNvSpPr txBox="1"/>
          <p:nvPr/>
        </p:nvSpPr>
        <p:spPr>
          <a:xfrm>
            <a:off x="9689620" y="4121076"/>
            <a:ext cx="1128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E102-SW06-P</a:t>
            </a:r>
            <a:endParaRPr lang="zh-CN" altLang="en-US" sz="10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图片 61" descr="图表, 箱线图&#10;&#10;AI 生成的内容可能不正确。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96568" y="1642210"/>
            <a:ext cx="3107179" cy="162534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199296" y="74491"/>
            <a:ext cx="2048654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组网方案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:RFID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07035" y="0"/>
            <a:ext cx="720090" cy="548640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7" name="图片 26" descr="图表&#10;&#10;AI 生成的内容可能不正确。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840" y="3046208"/>
            <a:ext cx="11644319" cy="3226739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939" y="938706"/>
            <a:ext cx="3969777" cy="2220384"/>
          </a:xfrm>
          <a:prstGeom prst="rect">
            <a:avLst/>
          </a:prstGeom>
        </p:spPr>
      </p:pic>
      <p:cxnSp>
        <p:nvCxnSpPr>
          <p:cNvPr id="39" name="直接箭头连接符 38"/>
          <p:cNvCxnSpPr/>
          <p:nvPr/>
        </p:nvCxnSpPr>
        <p:spPr>
          <a:xfrm flipH="1">
            <a:off x="5902799" y="938706"/>
            <a:ext cx="385126" cy="2187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 flipH="1">
            <a:off x="7693946" y="1464562"/>
            <a:ext cx="347600" cy="20540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6" name="直接箭头连接符 45"/>
          <p:cNvCxnSpPr>
            <a:stCxn id="47" idx="1"/>
          </p:cNvCxnSpPr>
          <p:nvPr/>
        </p:nvCxnSpPr>
        <p:spPr>
          <a:xfrm flipH="1" flipV="1">
            <a:off x="6361706" y="2412187"/>
            <a:ext cx="1628079" cy="25199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7" name="文本框 46"/>
          <p:cNvSpPr txBox="1"/>
          <p:nvPr/>
        </p:nvSpPr>
        <p:spPr>
          <a:xfrm>
            <a:off x="7989785" y="2479512"/>
            <a:ext cx="1211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FID</a:t>
            </a:r>
            <a:endParaRPr lang="zh-CN" altLang="en-US" dirty="0"/>
          </a:p>
        </p:txBody>
      </p:sp>
      <p:sp>
        <p:nvSpPr>
          <p:cNvPr id="49" name="文本框 48"/>
          <p:cNvSpPr txBox="1"/>
          <p:nvPr/>
        </p:nvSpPr>
        <p:spPr>
          <a:xfrm>
            <a:off x="7989785" y="1160699"/>
            <a:ext cx="1211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布车</a:t>
            </a:r>
            <a:endParaRPr lang="zh-CN" altLang="en-US" dirty="0"/>
          </a:p>
        </p:txBody>
      </p:sp>
      <p:sp>
        <p:nvSpPr>
          <p:cNvPr id="50" name="文本框 49"/>
          <p:cNvSpPr txBox="1"/>
          <p:nvPr/>
        </p:nvSpPr>
        <p:spPr>
          <a:xfrm>
            <a:off x="6145787" y="569374"/>
            <a:ext cx="1211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寻物灯</a:t>
            </a:r>
            <a:endParaRPr lang="zh-CN" altLang="en-US" dirty="0"/>
          </a:p>
        </p:txBody>
      </p:sp>
      <p:sp>
        <p:nvSpPr>
          <p:cNvPr id="51" name="文本框 50"/>
          <p:cNvSpPr txBox="1"/>
          <p:nvPr/>
        </p:nvSpPr>
        <p:spPr>
          <a:xfrm>
            <a:off x="10581079" y="1171315"/>
            <a:ext cx="1211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库位布局</a:t>
            </a:r>
            <a:endParaRPr lang="zh-CN" altLang="en-US" dirty="0"/>
          </a:p>
        </p:txBody>
      </p:sp>
      <p:sp>
        <p:nvSpPr>
          <p:cNvPr id="56" name="箭头: 下 55"/>
          <p:cNvSpPr/>
          <p:nvPr/>
        </p:nvSpPr>
        <p:spPr>
          <a:xfrm>
            <a:off x="9644286" y="2089568"/>
            <a:ext cx="146304" cy="269029"/>
          </a:xfrm>
          <a:prstGeom prst="down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箭头: 下 57"/>
          <p:cNvSpPr/>
          <p:nvPr/>
        </p:nvSpPr>
        <p:spPr>
          <a:xfrm rot="10800000">
            <a:off x="9497982" y="1974902"/>
            <a:ext cx="146304" cy="269029"/>
          </a:xfrm>
          <a:prstGeom prst="down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框 63"/>
          <p:cNvSpPr txBox="1"/>
          <p:nvPr/>
        </p:nvSpPr>
        <p:spPr>
          <a:xfrm>
            <a:off x="486605" y="1232254"/>
            <a:ext cx="347823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库位横梁处安装</a:t>
            </a:r>
            <a:r>
              <a:rPr lang="en-US" altLang="zh-CN" dirty="0"/>
              <a:t>RFID</a:t>
            </a:r>
            <a:r>
              <a:rPr lang="zh-CN" altLang="en-US" dirty="0"/>
              <a:t>读取器，使其与布车上的</a:t>
            </a:r>
            <a:r>
              <a:rPr lang="en-US" altLang="zh-CN" dirty="0"/>
              <a:t>RFID</a:t>
            </a:r>
            <a:r>
              <a:rPr lang="zh-CN" altLang="en-US" dirty="0"/>
              <a:t>载码体处于同一水平位置。当布车对入库位时，读取器成功读取标签，触发库位灯光亮起，从而确认货物已送达至库位。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199296" y="74491"/>
            <a:ext cx="20486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组网方案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: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寻物灯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07035" y="0"/>
            <a:ext cx="720090" cy="548640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5" name="图片 14" descr="图片包含 图示&#10;&#10;AI 生成的内容可能不正确。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3634840"/>
            <a:ext cx="12192000" cy="2880159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80" y="718441"/>
            <a:ext cx="5180977" cy="2590489"/>
          </a:xfrm>
          <a:prstGeom prst="rect">
            <a:avLst/>
          </a:prstGeom>
        </p:spPr>
      </p:pic>
      <p:cxnSp>
        <p:nvCxnSpPr>
          <p:cNvPr id="34" name="直接箭头连接符 33"/>
          <p:cNvCxnSpPr/>
          <p:nvPr/>
        </p:nvCxnSpPr>
        <p:spPr>
          <a:xfrm flipH="1">
            <a:off x="8851393" y="1203836"/>
            <a:ext cx="1316736" cy="18466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8" name="文本框 37"/>
          <p:cNvSpPr txBox="1"/>
          <p:nvPr/>
        </p:nvSpPr>
        <p:spPr>
          <a:xfrm>
            <a:off x="10168129" y="926837"/>
            <a:ext cx="1153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寻物灯</a:t>
            </a:r>
            <a:endParaRPr lang="zh-CN" altLang="en-US" dirty="0"/>
          </a:p>
        </p:txBody>
      </p:sp>
      <p:sp>
        <p:nvSpPr>
          <p:cNvPr id="42" name="文本框 41"/>
          <p:cNvSpPr txBox="1"/>
          <p:nvPr/>
        </p:nvSpPr>
        <p:spPr>
          <a:xfrm>
            <a:off x="592531" y="1111503"/>
            <a:ext cx="599114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/>
              <a:t>ASI</a:t>
            </a:r>
            <a:r>
              <a:rPr lang="zh-CN" altLang="en-US" sz="2000" dirty="0"/>
              <a:t>总线灯光系统</a:t>
            </a:r>
            <a:br>
              <a:rPr lang="en-US" altLang="zh-CN" dirty="0"/>
            </a:br>
            <a:endParaRPr lang="en-US" altLang="zh-CN" dirty="0"/>
          </a:p>
          <a:p>
            <a:r>
              <a:rPr lang="zh-CN" altLang="en-US" sz="2000" dirty="0"/>
              <a:t>工作原理‌：</a:t>
            </a:r>
            <a:r>
              <a:rPr lang="zh-CN" altLang="en-US" dirty="0"/>
              <a:t>通过</a:t>
            </a:r>
            <a:r>
              <a:rPr lang="en-US" altLang="zh-CN" dirty="0"/>
              <a:t>2</a:t>
            </a:r>
            <a:r>
              <a:rPr lang="zh-CN" altLang="en-US" dirty="0"/>
              <a:t>芯电缆构建主从式通信网络，将库位坐标转换为灯光指引信号</a:t>
            </a:r>
            <a:endParaRPr lang="zh-CN" altLang="en-US" dirty="0"/>
          </a:p>
          <a:p>
            <a:r>
              <a:rPr lang="zh-CN" altLang="en-US" sz="2000" dirty="0"/>
              <a:t>技术特点‌：</a:t>
            </a:r>
            <a:r>
              <a:rPr lang="zh-CN" altLang="en-US" dirty="0"/>
              <a:t>支持开关量设备快速接入，单系统可控制数百个灯光节点</a:t>
            </a:r>
            <a:endParaRPr lang="zh-CN" altLang="en-US" dirty="0"/>
          </a:p>
        </p:txBody>
      </p:sp>
      <p:pic>
        <p:nvPicPr>
          <p:cNvPr id="44" name="图片 43" descr="形状, 箭头, 矩形&#10;&#10;AI 生成的内容可能不正确。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0445" y="5688070"/>
            <a:ext cx="545984" cy="356292"/>
          </a:xfrm>
          <a:prstGeom prst="rect">
            <a:avLst/>
          </a:prstGeom>
        </p:spPr>
      </p:pic>
      <p:sp>
        <p:nvSpPr>
          <p:cNvPr id="45" name="文本框 44"/>
          <p:cNvSpPr txBox="1"/>
          <p:nvPr/>
        </p:nvSpPr>
        <p:spPr>
          <a:xfrm>
            <a:off x="4799773" y="6044362"/>
            <a:ext cx="1353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扁平线缆</a:t>
            </a:r>
            <a:endParaRPr lang="zh-CN" altLang="en-US" sz="14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/>
        </p:nvSpPr>
        <p:spPr>
          <a:xfrm>
            <a:off x="407035" y="0"/>
            <a:ext cx="720090" cy="548640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3" name="图片 42" descr="图示&#10;&#10;AI 生成的内容可能不正确。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90476" y="1009496"/>
            <a:ext cx="11230887" cy="5084065"/>
          </a:xfrm>
          <a:prstGeom prst="rect">
            <a:avLst/>
          </a:prstGeom>
        </p:spPr>
      </p:pic>
      <p:sp>
        <p:nvSpPr>
          <p:cNvPr id="44" name="文本框 43"/>
          <p:cNvSpPr txBox="1"/>
          <p:nvPr/>
        </p:nvSpPr>
        <p:spPr>
          <a:xfrm>
            <a:off x="1199296" y="74491"/>
            <a:ext cx="35702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安装方案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: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722150" y="4272077"/>
            <a:ext cx="43765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横梁选用</a:t>
            </a:r>
            <a:r>
              <a:rPr lang="en-US" altLang="zh-CN" dirty="0"/>
              <a:t>80×80</a:t>
            </a:r>
            <a:r>
              <a:rPr lang="zh-CN" altLang="en-US" dirty="0"/>
              <a:t>毫米规格的金属方钢，固定杆以</a:t>
            </a:r>
            <a:r>
              <a:rPr lang="en-US" altLang="zh-CN" dirty="0"/>
              <a:t>3</a:t>
            </a:r>
            <a:r>
              <a:rPr lang="zh-CN" altLang="en-US" dirty="0"/>
              <a:t>米为间隔安装，用于支撑和固定横梁；同时，在横梁上安装</a:t>
            </a:r>
            <a:r>
              <a:rPr lang="en-US" altLang="zh-CN" dirty="0"/>
              <a:t>RFID</a:t>
            </a:r>
            <a:r>
              <a:rPr lang="zh-CN" altLang="en-US" dirty="0"/>
              <a:t>读取器及寻物灯光系统。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455" y="-470309"/>
            <a:ext cx="2984651" cy="172802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DATA_TYPE" val="OfficePlusSmartComponent"/>
  <p:tag name="OP_SCP_TAG_VERSION" val="1.0"/>
  <p:tag name="OP_SCP_CHANGE_COLOR" val="N"/>
  <p:tag name="OP_SCP_COMPONENT_TYPE" val="Relation"/>
  <p:tag name="OP_SCP_CONTENT_ID" val="MatlComponentContent-13106"/>
  <p:tag name="OP_SCP_COMPONENT_INFO" val="{&quot;title&quot;:&quot;扁平4项通用纯文本（4）&quot;,&quot;description&quot;:&quot;扁平4项通用纯文本（4）&quot;,&quot;keywords&quot;:[&quot;扁平&quot;,&quot;4项&quot;,&quot;纯文本&quot;],&quot;labels&quot;:[]}"/>
  <p:tag name="OP_SCP_GROUP_ID" val="52fb90e8-8492-d0ce-5e0c-5cfac3babf75"/>
  <p:tag name="OP_SCP_ITEM_COUNT" val="4"/>
</p:tagLst>
</file>

<file path=ppt/tags/tag10.xml><?xml version="1.0" encoding="utf-8"?>
<p:tagLst xmlns:p="http://schemas.openxmlformats.org/presentationml/2006/main">
  <p:tag name="OP_SCP_SHAPE_TYPE" val="Index"/>
  <p:tag name="OP_SCP_ITEM_INDEX" val="3"/>
  <p:tag name="OP_SCP_DEFAULT_TEXT" val="03"/>
</p:tagLst>
</file>

<file path=ppt/tags/tag11.xml><?xml version="1.0" encoding="utf-8"?>
<p:tagLst xmlns:p="http://schemas.openxmlformats.org/presentationml/2006/main">
  <p:tag name="OP_SCP_SHAPE_TYPE" val="Body"/>
  <p:tag name="OP_SCP_ITEM_INDEX" val="4"/>
  <p:tag name="OP_SCP_DEFAULT_TEXT" val="单击此处添加文本，单击此处添加文本，单击此处添加文本，单击此处添加文本，单击此处添加文本。"/>
</p:tagLst>
</file>

<file path=ppt/tags/tag12.xml><?xml version="1.0" encoding="utf-8"?>
<p:tagLst xmlns:p="http://schemas.openxmlformats.org/presentationml/2006/main">
  <p:tag name="OP_SCP_SHAPE_TYPE" val="Title"/>
  <p:tag name="OP_SCP_DEFAULT_TEXT" val="添加标题"/>
  <p:tag name="OP_SCP_ITEM_INDEX" val="4"/>
</p:tagLst>
</file>

<file path=ppt/tags/tag13.xml><?xml version="1.0" encoding="utf-8"?>
<p:tagLst xmlns:p="http://schemas.openxmlformats.org/presentationml/2006/main">
  <p:tag name="OP_SCP_SHAPE_TYPE" val="Index"/>
  <p:tag name="OP_SCP_ITEM_INDEX" val="4"/>
  <p:tag name="OP_SCP_DEFAULT_TEXT" val="04"/>
</p:tagLst>
</file>

<file path=ppt/tags/tag14.xml><?xml version="1.0" encoding="utf-8"?>
<p:tagLst xmlns:p="http://schemas.openxmlformats.org/presentationml/2006/main">
  <p:tag name="DATA_TYPE" val="OfficePlusSmartComponent"/>
  <p:tag name="OP_SCP_TAG_VERSION" val="1.0"/>
  <p:tag name="OP_SCP_CHANGE_COLOR" val="N"/>
  <p:tag name="OP_SCP_COMPONENT_TYPE" val="Relation"/>
  <p:tag name="OP_SCP_CONTENT_ID" val="MatlComponentContent-13114"/>
  <p:tag name="OP_SCP_COMPONENT_INFO" val="{&quot;title&quot;:&quot;扁平3项通用纯文本（4）&quot;,&quot;description&quot;:&quot;扁平3项通用纯文本（4）&quot;,&quot;keywords&quot;:[&quot;扁平&quot;,&quot;3项&quot;,&quot;纯文本&quot;],&quot;labels&quot;:[]}"/>
  <p:tag name="OP_SCP_GROUP_ID" val="52fb90e8-8492-d0ce-5e0c-5cfac3babf75"/>
  <p:tag name="OP_SCP_ITEM_COUNT" val="3"/>
</p:tagLst>
</file>

<file path=ppt/tags/tag15.xml><?xml version="1.0" encoding="utf-8"?>
<p:tagLst xmlns:p="http://schemas.openxmlformats.org/presentationml/2006/main">
  <p:tag name="OP_SCP_SHAPE_TYPE" val="Body"/>
  <p:tag name="OP_SCP_ITEM_INDEX" val="1"/>
  <p:tag name="OP_SCP_DEFAULT_TEXT" val="单击此处添加文本，单击此处添加文本，单击此处添加文本，单击此处添加文本，单击此处添加文本。"/>
</p:tagLst>
</file>

<file path=ppt/tags/tag16.xml><?xml version="1.0" encoding="utf-8"?>
<p:tagLst xmlns:p="http://schemas.openxmlformats.org/presentationml/2006/main">
  <p:tag name="OP_SCP_SHAPE_TYPE" val="Title"/>
  <p:tag name="OP_SCP_ITEM_INDEX" val="1"/>
  <p:tag name="OP_SCP_DEFAULT_TEXT" val="添加标题"/>
</p:tagLst>
</file>

<file path=ppt/tags/tag17.xml><?xml version="1.0" encoding="utf-8"?>
<p:tagLst xmlns:p="http://schemas.openxmlformats.org/presentationml/2006/main">
  <p:tag name="OP_SCP_ITEM_INDEX" val="1"/>
  <p:tag name="OP_SCP_SHAPE_TYPE" val="Index"/>
  <p:tag name="OP_SCP_DEFAULT_TEXT" val="01"/>
</p:tagLst>
</file>

<file path=ppt/tags/tag18.xml><?xml version="1.0" encoding="utf-8"?>
<p:tagLst xmlns:p="http://schemas.openxmlformats.org/presentationml/2006/main">
  <p:tag name="OP_SCP_SHAPE_TYPE" val="Body"/>
  <p:tag name="OP_SCP_ITEM_INDEX" val="2"/>
  <p:tag name="OP_SCP_DEFAULT_TEXT" val="单击此处添加文本，单击此处添加文本，单击此处添加文本，单击此处添加文本，单击此处添加文本。"/>
</p:tagLst>
</file>

<file path=ppt/tags/tag19.xml><?xml version="1.0" encoding="utf-8"?>
<p:tagLst xmlns:p="http://schemas.openxmlformats.org/presentationml/2006/main">
  <p:tag name="OP_SCP_SHAPE_TYPE" val="Title"/>
  <p:tag name="OP_SCP_DEFAULT_TEXT" val="添加标题"/>
  <p:tag name="OP_SCP_ITEM_INDEX" val="2"/>
</p:tagLst>
</file>

<file path=ppt/tags/tag2.xml><?xml version="1.0" encoding="utf-8"?>
<p:tagLst xmlns:p="http://schemas.openxmlformats.org/presentationml/2006/main">
  <p:tag name="OP_SCP_SHAPE_TYPE" val="Body"/>
  <p:tag name="OP_SCP_ITEM_INDEX" val="1"/>
  <p:tag name="OP_SCP_DEFAULT_TEXT" val="单击此处添加文本，单击此处添加文本，单击此处添加文本，单击此处添加文本，单击此处添加文本。"/>
</p:tagLst>
</file>

<file path=ppt/tags/tag20.xml><?xml version="1.0" encoding="utf-8"?>
<p:tagLst xmlns:p="http://schemas.openxmlformats.org/presentationml/2006/main">
  <p:tag name="OP_SCP_SHAPE_TYPE" val="Index"/>
  <p:tag name="OP_SCP_ITEM_INDEX" val="2"/>
  <p:tag name="OP_SCP_DEFAULT_TEXT" val="02"/>
</p:tagLst>
</file>

<file path=ppt/tags/tag21.xml><?xml version="1.0" encoding="utf-8"?>
<p:tagLst xmlns:p="http://schemas.openxmlformats.org/presentationml/2006/main">
  <p:tag name="OP_SCP_SHAPE_TYPE" val="Body"/>
  <p:tag name="OP_SCP_ITEM_INDEX" val="3"/>
  <p:tag name="OP_SCP_DEFAULT_TEXT" val="单击此处添加文本，单击此处添加文本，单击此处添加文本，单击此处添加文本，单击此处添加文本。"/>
</p:tagLst>
</file>

<file path=ppt/tags/tag22.xml><?xml version="1.0" encoding="utf-8"?>
<p:tagLst xmlns:p="http://schemas.openxmlformats.org/presentationml/2006/main">
  <p:tag name="OP_SCP_SHAPE_TYPE" val="Title"/>
  <p:tag name="OP_SCP_DEFAULT_TEXT" val="添加标题"/>
  <p:tag name="OP_SCP_ITEM_INDEX" val="3"/>
</p:tagLst>
</file>

<file path=ppt/tags/tag23.xml><?xml version="1.0" encoding="utf-8"?>
<p:tagLst xmlns:p="http://schemas.openxmlformats.org/presentationml/2006/main">
  <p:tag name="OP_SCP_SHAPE_TYPE" val="Index"/>
  <p:tag name="OP_SCP_ITEM_INDEX" val="3"/>
  <p:tag name="OP_SCP_DEFAULT_TEXT" val="03"/>
</p:tagLst>
</file>

<file path=ppt/tags/tag3.xml><?xml version="1.0" encoding="utf-8"?>
<p:tagLst xmlns:p="http://schemas.openxmlformats.org/presentationml/2006/main">
  <p:tag name="OP_SCP_SHAPE_TYPE" val="Title"/>
  <p:tag name="OP_SCP_ITEM_INDEX" val="1"/>
  <p:tag name="OP_SCP_DEFAULT_TEXT" val="添加标题"/>
</p:tagLst>
</file>

<file path=ppt/tags/tag4.xml><?xml version="1.0" encoding="utf-8"?>
<p:tagLst xmlns:p="http://schemas.openxmlformats.org/presentationml/2006/main">
  <p:tag name="OP_SCP_ITEM_INDEX" val="1"/>
  <p:tag name="OP_SCP_SHAPE_TYPE" val="Index"/>
  <p:tag name="OP_SCP_DEFAULT_TEXT" val="01"/>
</p:tagLst>
</file>

<file path=ppt/tags/tag5.xml><?xml version="1.0" encoding="utf-8"?>
<p:tagLst xmlns:p="http://schemas.openxmlformats.org/presentationml/2006/main">
  <p:tag name="OP_SCP_SHAPE_TYPE" val="Body"/>
  <p:tag name="OP_SCP_ITEM_INDEX" val="2"/>
  <p:tag name="OP_SCP_DEFAULT_TEXT" val="单击此处添加文本，单击此处添加文本，单击此处添加文本，单击此处添加文本，单击此处添加文本。"/>
</p:tagLst>
</file>

<file path=ppt/tags/tag6.xml><?xml version="1.0" encoding="utf-8"?>
<p:tagLst xmlns:p="http://schemas.openxmlformats.org/presentationml/2006/main">
  <p:tag name="OP_SCP_SHAPE_TYPE" val="Title"/>
  <p:tag name="OP_SCP_DEFAULT_TEXT" val="添加标题"/>
  <p:tag name="OP_SCP_ITEM_INDEX" val="2"/>
</p:tagLst>
</file>

<file path=ppt/tags/tag7.xml><?xml version="1.0" encoding="utf-8"?>
<p:tagLst xmlns:p="http://schemas.openxmlformats.org/presentationml/2006/main">
  <p:tag name="OP_SCP_SHAPE_TYPE" val="Index"/>
  <p:tag name="OP_SCP_ITEM_INDEX" val="2"/>
  <p:tag name="OP_SCP_DEFAULT_TEXT" val="02"/>
</p:tagLst>
</file>

<file path=ppt/tags/tag8.xml><?xml version="1.0" encoding="utf-8"?>
<p:tagLst xmlns:p="http://schemas.openxmlformats.org/presentationml/2006/main">
  <p:tag name="OP_SCP_SHAPE_TYPE" val="Body"/>
  <p:tag name="OP_SCP_ITEM_INDEX" val="3"/>
  <p:tag name="OP_SCP_DEFAULT_TEXT" val="单击此处添加文本，单击此处添加文本，单击此处添加文本，单击此处添加文本，单击此处添加文本。"/>
</p:tagLst>
</file>

<file path=ppt/tags/tag9.xml><?xml version="1.0" encoding="utf-8"?>
<p:tagLst xmlns:p="http://schemas.openxmlformats.org/presentationml/2006/main">
  <p:tag name="OP_SCP_SHAPE_TYPE" val="Title"/>
  <p:tag name="OP_SCP_DEFAULT_TEXT" val="添加标题"/>
  <p:tag name="OP_SCP_ITEM_INDEX" val="3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">
      <a:majorFont>
        <a:latin typeface="等线 Light"/>
        <a:ea typeface="等线 Light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88</Words>
  <Application>WPS 演示</Application>
  <PresentationFormat>宽屏</PresentationFormat>
  <Paragraphs>227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11</vt:i4>
      </vt:variant>
    </vt:vector>
  </HeadingPairs>
  <TitlesOfParts>
    <vt:vector size="34" baseType="lpstr">
      <vt:lpstr>Arial</vt:lpstr>
      <vt:lpstr>宋体</vt:lpstr>
      <vt:lpstr>Wingdings</vt:lpstr>
      <vt:lpstr>思源黑体 CN Heavy</vt:lpstr>
      <vt:lpstr>黑体</vt:lpstr>
      <vt:lpstr>微软雅黑</vt:lpstr>
      <vt:lpstr>华文楷体</vt:lpstr>
      <vt:lpstr>思源黑体 CN Medium</vt:lpstr>
      <vt:lpstr>思源黑体 CN Normal</vt:lpstr>
      <vt:lpstr>等线</vt:lpstr>
      <vt:lpstr>Arial Unicode MS</vt:lpstr>
      <vt:lpstr>等线 Light</vt:lpstr>
      <vt:lpstr>Calibri</vt:lpstr>
      <vt:lpstr>Wingdings</vt:lpstr>
      <vt:lpstr>思源黑体 CN Heavy</vt:lpstr>
      <vt:lpstr>思源黑体 CN Medium</vt:lpstr>
      <vt:lpstr>思源黑体 CN Normal</vt:lpstr>
      <vt:lpstr>清雅黑体</vt:lpstr>
      <vt:lpstr>方正宝黑体 简 Medium</vt:lpstr>
      <vt:lpstr>Office 主题​​</vt:lpstr>
      <vt:lpstr>CorelDraw.Graphic.24</vt:lpstr>
      <vt:lpstr>CorelDraw.Graphic.24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和 冲</dc:creator>
  <cp:lastModifiedBy>WPS_1614325522</cp:lastModifiedBy>
  <cp:revision>19</cp:revision>
  <dcterms:created xsi:type="dcterms:W3CDTF">2025-03-24T03:49:00Z</dcterms:created>
  <dcterms:modified xsi:type="dcterms:W3CDTF">2026-04-30T09:2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25865</vt:lpwstr>
  </property>
  <property fmtid="{D5CDD505-2E9C-101B-9397-08002B2CF9AE}" pid="3" name="ICV">
    <vt:lpwstr>5CD4CF639FA04A27AF99D974BD81C689_13</vt:lpwstr>
  </property>
</Properties>
</file>